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9" r:id="rId6"/>
    <p:sldId id="264" r:id="rId7"/>
    <p:sldId id="263" r:id="rId8"/>
    <p:sldId id="262" r:id="rId9"/>
    <p:sldId id="261" r:id="rId10"/>
    <p:sldId id="260" r:id="rId11"/>
    <p:sldId id="276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</p:sldIdLst>
  <p:sldSz cx="12192000" cy="6858000"/>
  <p:notesSz cx="6858000" cy="9144000"/>
  <p:custDataLst>
    <p:tags r:id="rId2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E3C"/>
    <a:srgbClr val="F2F4F5"/>
    <a:srgbClr val="F4F9BF"/>
    <a:srgbClr val="F4F1EB"/>
    <a:srgbClr val="E8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969" autoAdjust="0"/>
  </p:normalViewPr>
  <p:slideViewPr>
    <p:cSldViewPr snapToGrid="0" snapToObjects="1">
      <p:cViewPr varScale="1">
        <p:scale>
          <a:sx n="64" d="100"/>
          <a:sy n="64" d="100"/>
        </p:scale>
        <p:origin x="216" y="78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98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07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07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7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8C554A-E888-F076-0D89-1F3A7A630E1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6250" y="5999163"/>
            <a:ext cx="1270000" cy="28257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7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7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FF47E-0780-6021-9F8B-6ADB0BF8940C}"/>
              </a:ext>
            </a:extLst>
          </p:cNvPr>
          <p:cNvSpPr txBox="1"/>
          <p:nvPr userDrawn="1"/>
        </p:nvSpPr>
        <p:spPr>
          <a:xfrm>
            <a:off x="922335" y="6349977"/>
            <a:ext cx="1326189" cy="235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. marts 2026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7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0" r:id="rId3"/>
    <p:sldLayoutId id="2147483670" r:id="rId4"/>
    <p:sldLayoutId id="2147483671" r:id="rId5"/>
    <p:sldLayoutId id="2147483674" r:id="rId6"/>
    <p:sldLayoutId id="2147483672" r:id="rId7"/>
    <p:sldLayoutId id="2147483673" r:id="rId8"/>
    <p:sldLayoutId id="2147483663" r:id="rId9"/>
    <p:sldLayoutId id="2147483664" r:id="rId10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13" Type="http://schemas.openxmlformats.org/officeDocument/2006/relationships/slide" Target="slide17.xml"/><Relationship Id="rId3" Type="http://schemas.openxmlformats.org/officeDocument/2006/relationships/slide" Target="slide9.xml"/><Relationship Id="rId7" Type="http://schemas.openxmlformats.org/officeDocument/2006/relationships/slide" Target="slide15.xml"/><Relationship Id="rId12" Type="http://schemas.openxmlformats.org/officeDocument/2006/relationships/slide" Target="slide12.xml"/><Relationship Id="rId2" Type="http://schemas.openxmlformats.org/officeDocument/2006/relationships/slide" Target="slide4.xml"/><Relationship Id="rId16" Type="http://schemas.openxmlformats.org/officeDocument/2006/relationships/slide" Target="slide18.xml"/><Relationship Id="rId1" Type="http://schemas.openxmlformats.org/officeDocument/2006/relationships/slideLayout" Target="../slideLayouts/slideLayout3.xml"/><Relationship Id="rId6" Type="http://schemas.openxmlformats.org/officeDocument/2006/relationships/slide" Target="slide10.xml"/><Relationship Id="rId11" Type="http://schemas.openxmlformats.org/officeDocument/2006/relationships/slide" Target="slide7.xml"/><Relationship Id="rId5" Type="http://schemas.openxmlformats.org/officeDocument/2006/relationships/slide" Target="slide5.xml"/><Relationship Id="rId15" Type="http://schemas.openxmlformats.org/officeDocument/2006/relationships/slide" Target="slide13.xml"/><Relationship Id="rId10" Type="http://schemas.openxmlformats.org/officeDocument/2006/relationships/slide" Target="slide16.xml"/><Relationship Id="rId4" Type="http://schemas.openxmlformats.org/officeDocument/2006/relationships/slide" Target="slide14.xml"/><Relationship Id="rId9" Type="http://schemas.openxmlformats.org/officeDocument/2006/relationships/slide" Target="slide11.xml"/><Relationship Id="rId14" Type="http://schemas.openxmlformats.org/officeDocument/2006/relationships/slide" Target="slide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3" descr="Logo: CFB – Center for Beredskabskommunikation">
            <a:extLst>
              <a:ext uri="{FF2B5EF4-FFF2-40B4-BE49-F238E27FC236}">
                <a16:creationId xmlns:a16="http://schemas.microsoft.com/office/drawing/2014/main" id="{BB2B3FCC-0FA2-E83E-D50D-7C90040DE2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 descr="Logo: Beredskabsstyrelsen">
            <a:extLst>
              <a:ext uri="{FF2B5EF4-FFF2-40B4-BE49-F238E27FC236}">
                <a16:creationId xmlns:a16="http://schemas.microsoft.com/office/drawing/2014/main" id="{6867B70B-0ED4-BFA4-5E78-C5A7863DED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95599" y="1993703"/>
            <a:ext cx="9807774" cy="1360347"/>
          </a:xfrm>
        </p:spPr>
        <p:txBody>
          <a:bodyPr/>
          <a:lstStyle/>
          <a:p>
            <a:pPr algn="ctr"/>
            <a:r>
              <a:rPr lang="en-US" dirty="0"/>
              <a:t>SINE - quiz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67AAA976-B0C7-ABE4-03FB-2EC5E26191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6425764"/>
            <a:ext cx="1270000" cy="282575"/>
          </a:xfrm>
        </p:spPr>
        <p:txBody>
          <a:bodyPr/>
          <a:lstStyle/>
          <a:p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. marts 20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32800177-757F-6B15-C1A9-13C34B2DD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3851" y="582300"/>
            <a:ext cx="8992211" cy="720000"/>
          </a:xfrm>
        </p:spPr>
        <p:txBody>
          <a:bodyPr/>
          <a:lstStyle/>
          <a:p>
            <a:r>
              <a:rPr lang="da-DK" dirty="0"/>
              <a:t>Rutineret viden (7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37E2AF-B5B5-AE7A-5E92-EE47F552DA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68387" y="1641150"/>
            <a:ext cx="9885363" cy="2541939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Du bliver som ISL bedt om at køre til en lufthavn med fast SKS 183.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Opgaven lyder på muligt flystyrt på landingsbane.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ilken talegruppe bruger du under fremkørslen til tværfaglig kommunikation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5DEE301-84DC-2D9F-CCB1-39E65524BEA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2336" y="4645893"/>
            <a:ext cx="11003345" cy="1457291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Du kører frem på fast SKS 183ISL for at kunne koordinere med ISL FLY og den øvrige indsatsledelse under fremkørslen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457323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F296ADD4-1447-B55B-9431-462E9E22ED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3149" y="563250"/>
            <a:ext cx="8892913" cy="720000"/>
          </a:xfrm>
        </p:spPr>
        <p:txBody>
          <a:bodyPr/>
          <a:lstStyle/>
          <a:p>
            <a:r>
              <a:rPr lang="da-DK" dirty="0"/>
              <a:t>Rutineret viden (8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5D6F62-938A-A859-FBED-01BE02BA941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55686" y="1641150"/>
            <a:ext cx="9498014" cy="569907"/>
          </a:xfrm>
        </p:spPr>
        <p:txBody>
          <a:bodyPr/>
          <a:lstStyle/>
          <a:p>
            <a:pPr marL="0" indent="0">
              <a:buNone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Hvorfor skifter man fra default SKS til et tildelt SKS?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5BA17C0-67CD-71CF-3197-A3141098B36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9486" y="3467100"/>
            <a:ext cx="10753727" cy="217441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var: </a:t>
            </a:r>
            <a:b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Man skifter til et tildelt SKS for at isolere kommunikationen ved den pågældende hændelse og frigøre default SKS til nye hændels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Desuden skifter man for at få adgang til talegrupperne i tildelt SKS.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429621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0449BDB5-814D-E976-E90D-9C7EC3F19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3049" y="544200"/>
            <a:ext cx="8813014" cy="720000"/>
          </a:xfrm>
        </p:spPr>
        <p:txBody>
          <a:bodyPr/>
          <a:lstStyle/>
          <a:p>
            <a:r>
              <a:rPr lang="da-DK" dirty="0"/>
              <a:t>Rutineret viden (9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0B501A-5CFD-597B-4511-A586A4134D6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0794" y="1580527"/>
            <a:ext cx="10543738" cy="2008996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Der er tilkaldt et ekspertberedskab og en anden aktør til en tværfaglig hændelse.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or kan du komme i kontakt med de to beredskaber under fremkørsel og i indsatsområdet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6DFF970-FC25-9858-3C3E-C88D5C24ECB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5544" y="4120140"/>
            <a:ext cx="10605269" cy="1521379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Du taler med de to beredskaber på default SKS under fremkørsel eller på det tildelt SKSXXXISL, såfremt der er skiftet til tildelt SKS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1194150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1224E771-E24B-E2D6-AE19-6DC7DF370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9985" y="544200"/>
            <a:ext cx="9026078" cy="720000"/>
          </a:xfrm>
        </p:spPr>
        <p:txBody>
          <a:bodyPr/>
          <a:lstStyle/>
          <a:p>
            <a:r>
              <a:rPr lang="da-DK" dirty="0"/>
              <a:t>Rutineret viden (10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49E8D1-5E00-6DF0-8D1C-AD94ACA6EE0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6875" y="2218427"/>
            <a:ext cx="10056812" cy="1131995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ilke muligheder har man for radiokommunikation, hvis SINE-nettets dækning i TMO (</a:t>
            </a:r>
            <a:r>
              <a:rPr lang="da-DK" sz="2800" b="1" dirty="0" err="1">
                <a:latin typeface="Arial" panose="020B0604020202020204" pitchFamily="34" charset="0"/>
              </a:rPr>
              <a:t>Trunked</a:t>
            </a:r>
            <a:r>
              <a:rPr lang="da-DK" sz="2800" b="1" dirty="0">
                <a:latin typeface="Arial" panose="020B0604020202020204" pitchFamily="34" charset="0"/>
              </a:rPr>
              <a:t> mode) svigter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1812735-8F7F-85D5-FC51-E8A0D1C9F25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86563" y="3953190"/>
            <a:ext cx="10532720" cy="1688330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Brug af DMO (Direct mode) som er en tilstand, der gør det muligt at kommunikere mellem radioer uden forbindelse til SINE-nettet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3020963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92107D7-DE1C-FC3E-2EA7-FA5DD11B7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1107" y="423030"/>
            <a:ext cx="9034956" cy="720000"/>
          </a:xfrm>
        </p:spPr>
        <p:txBody>
          <a:bodyPr/>
          <a:lstStyle/>
          <a:p>
            <a:r>
              <a:rPr lang="da-DK" dirty="0"/>
              <a:t>Avanceret viden (11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72D95D-2383-850C-4218-F5A83A5B84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96725" y="1971419"/>
            <a:ext cx="7803603" cy="1152128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Redegør for hvilken funktion en </a:t>
            </a:r>
            <a:r>
              <a:rPr lang="da-DK" sz="2800" b="1" dirty="0" err="1">
                <a:latin typeface="Arial" panose="020B0604020202020204" pitchFamily="34" charset="0"/>
              </a:rPr>
              <a:t>repeater</a:t>
            </a:r>
            <a:r>
              <a:rPr lang="da-DK" sz="2800" b="1" dirty="0">
                <a:latin typeface="Arial" panose="020B0604020202020204" pitchFamily="34" charset="0"/>
              </a:rPr>
              <a:t> har,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og hvornår den med fordel kan bruges.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05C4CA1-4857-E178-7DBA-9EA60E99D4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1753" y="4087302"/>
            <a:ext cx="10664310" cy="2034690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En 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repeater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 kan forlænge et DMO-signal (Direct mode) og kan fx bruges til at skabe DMO-dækning under indsatser i bygninger og områder uden TMO-dækning (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Trunked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 mode)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1052459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23F09162-3E2B-0423-291F-BE349EB64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5495" y="647880"/>
            <a:ext cx="8990568" cy="720000"/>
          </a:xfrm>
        </p:spPr>
        <p:txBody>
          <a:bodyPr/>
          <a:lstStyle/>
          <a:p>
            <a:r>
              <a:rPr lang="da-DK" dirty="0"/>
              <a:t>Avanceret viden (12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284629-32F1-940F-EDA3-7C7F8BACD4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98209" y="1450985"/>
            <a:ext cx="7848573" cy="977176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Redegør for hvilken funktion en gateway har,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og hvornår den med fordel kan bruges.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DEB963-F4EE-0252-483E-7540DA413DF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18975" y="3292299"/>
            <a:ext cx="10843938" cy="2829693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En gateway er en radio med en særlig funktion, som kan omgøre et DMO-signal (Direct mode) til et TMO-signal (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Trunked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 mode). </a:t>
            </a:r>
          </a:p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En gateway bruges i områder med dårlig dækning, hvor der arbejdes i DMO, og hvor man har brug for at kunne skabe TMO-forbindelse til fx en vagtcentral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538178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B35B4E48-2179-6557-4023-0F0A9A424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5597" y="572930"/>
            <a:ext cx="9070466" cy="720000"/>
          </a:xfrm>
        </p:spPr>
        <p:txBody>
          <a:bodyPr/>
          <a:lstStyle/>
          <a:p>
            <a:r>
              <a:rPr lang="da-DK" dirty="0"/>
              <a:t>Avanceret viden (13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7E291B-48DF-2269-C150-51FC7C887FD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15545" y="1809032"/>
            <a:ext cx="10150218" cy="162992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Under en opgave nær grænsen bliver du bedt om at skifte til Euro DM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Beskriv med egne ord, hvad det betyder.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AE4CD3-4681-8C0D-CEC4-6F346F92FDE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66784" y="3732022"/>
            <a:ext cx="9871106" cy="2032450"/>
          </a:xfrm>
        </p:spPr>
        <p:txBody>
          <a:bodyPr/>
          <a:lstStyle/>
          <a:p>
            <a:pPr marL="0" indent="0">
              <a:buNone/>
            </a:pP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var: </a:t>
            </a:r>
            <a:b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Det betyder, at du tilgår en ‘Direct mode’ talegruppe, som er </a:t>
            </a:r>
            <a:r>
              <a:rPr kumimoji="0" lang="da-DK" sz="2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ukrypteret</a:t>
            </a: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, hvorpå du kan tale med nabolandes beredskaber under en fælles indsats.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7204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8EC210E4-34DD-8F73-A035-BD986B969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8861" y="542950"/>
            <a:ext cx="9017201" cy="720000"/>
          </a:xfrm>
        </p:spPr>
        <p:txBody>
          <a:bodyPr/>
          <a:lstStyle/>
          <a:p>
            <a:r>
              <a:rPr lang="da-DK" dirty="0"/>
              <a:t>Avanceret viden (14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EC2D5-EDFC-0373-A504-68191837894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01692" y="1760767"/>
            <a:ext cx="10217019" cy="1310948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em har den koordinerende ledelse af SAR-operationer i kystnært område og dermed ansvaret for koordinationen af kommunikationen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B3166AC-F197-1250-D880-BCDAE00C013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5425" y="4009521"/>
            <a:ext cx="10795548" cy="2112471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Ansvaret for den koordinerende ledelse og kommunikationen ved SAR-operationer i kystnært område ligger ved forsvarets JRCC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(Joint 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Rescue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Coordination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 Center)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3212641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285D0FC9-96A0-A549-53F6-44F05CF1E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1107" y="542950"/>
            <a:ext cx="9034956" cy="720000"/>
          </a:xfrm>
        </p:spPr>
        <p:txBody>
          <a:bodyPr/>
          <a:lstStyle/>
          <a:p>
            <a:r>
              <a:rPr lang="da-DK" dirty="0"/>
              <a:t>Avanceret viden (15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92CD68-1A2D-93C7-B958-F6CEFFAEA5C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04452" y="1812829"/>
            <a:ext cx="10820846" cy="2229633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Ved et større færdselsuheld rekvireres lægehelikopteren (HEMS).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em taler lægehelikopteren (tværfagligt) med på SKS og på hvilken talegruppe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CB638A-8149-0A10-8419-90C4110596C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12276" y="4149080"/>
            <a:ext cx="10753727" cy="1492439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Lægehelikopteren taler med indsatsledelsen på default SKS eller tildelt SKS XXX ISL, hvis der er skiftet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638394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1D51FE72-74A7-5C14-E289-A9E843792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883" y="555085"/>
            <a:ext cx="11160124" cy="720000"/>
          </a:xfrm>
        </p:spPr>
        <p:txBody>
          <a:bodyPr/>
          <a:lstStyle/>
          <a:p>
            <a:r>
              <a:rPr lang="da-DK" dirty="0"/>
              <a:t>Spilleregler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DC58A139-905F-DCD0-1AA4-2AF2DCB3ED1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537" y="2002966"/>
            <a:ext cx="11160124" cy="3309263"/>
          </a:xfrm>
        </p:spPr>
        <p:txBody>
          <a:bodyPr/>
          <a:lstStyle/>
          <a:p>
            <a:pPr marL="0" indent="0">
              <a:spcBef>
                <a:spcPts val="2000"/>
              </a:spcBef>
              <a:buNone/>
            </a:pPr>
            <a:r>
              <a:rPr lang="da-DK" dirty="0">
                <a:latin typeface="Arial" panose="020B0604020202020204" pitchFamily="34" charset="0"/>
              </a:rPr>
              <a:t>Holdene skiftes til at vælge et point-felt i point-skemaet, hvorefter quizmasteren læser det pågældende spørgsmål op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dirty="0">
                <a:latin typeface="Arial" panose="020B0604020202020204" pitchFamily="34" charset="0"/>
              </a:rPr>
              <a:t>Holdene må ikke markere, førend quizmasteren har læst </a:t>
            </a:r>
            <a:r>
              <a:rPr lang="da-DK" u="sng" dirty="0">
                <a:latin typeface="Arial" panose="020B0604020202020204" pitchFamily="34" charset="0"/>
              </a:rPr>
              <a:t>hele</a:t>
            </a:r>
            <a:r>
              <a:rPr lang="da-DK" dirty="0">
                <a:latin typeface="Arial" panose="020B0604020202020204" pitchFamily="34" charset="0"/>
              </a:rPr>
              <a:t> spørgsmålet!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dirty="0">
                <a:latin typeface="Arial" panose="020B0604020202020204" pitchFamily="34" charset="0"/>
              </a:rPr>
              <a:t>Det hold, der markerer først, får lov til at svare på spørgsmålet. </a:t>
            </a:r>
          </a:p>
          <a:p>
            <a:pPr marL="0" indent="0">
              <a:buNone/>
            </a:pPr>
            <a:r>
              <a:rPr lang="da-DK" dirty="0">
                <a:latin typeface="Arial" panose="020B0604020202020204" pitchFamily="34" charset="0"/>
              </a:rPr>
              <a:t>Svarer holdet forkert, går turen videre til et andet hold, der markerer, og som får lov til at svare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dirty="0">
                <a:latin typeface="Arial" panose="020B0604020202020204" pitchFamily="34" charset="0"/>
              </a:rPr>
              <a:t>Spillet er slut, når alle 15 spørgsmål er blevet besvaret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dirty="0">
                <a:latin typeface="Arial" panose="020B0604020202020204" pitchFamily="34" charset="0"/>
              </a:rPr>
              <a:t>Det hold, som har opnået flest point, vinder.</a:t>
            </a:r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624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7DCCCE9-05B9-083C-6501-82AD22CC5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3657" y="497028"/>
            <a:ext cx="3236686" cy="511483"/>
          </a:xfrm>
        </p:spPr>
        <p:txBody>
          <a:bodyPr/>
          <a:lstStyle/>
          <a:p>
            <a:r>
              <a:rPr lang="da-DK" dirty="0"/>
              <a:t>Point-skema</a:t>
            </a:r>
          </a:p>
        </p:txBody>
      </p:sp>
      <p:graphicFrame>
        <p:nvGraphicFramePr>
          <p:cNvPr id="5" name="Tabel 4">
            <a:extLst>
              <a:ext uri="{FF2B5EF4-FFF2-40B4-BE49-F238E27FC236}">
                <a16:creationId xmlns:a16="http://schemas.microsoft.com/office/drawing/2014/main" id="{27E1A41C-4583-3349-FC14-76E03522D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73727"/>
              </p:ext>
            </p:extLst>
          </p:nvPr>
        </p:nvGraphicFramePr>
        <p:xfrm>
          <a:off x="1136342" y="979483"/>
          <a:ext cx="8664606" cy="5066212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888202">
                  <a:extLst>
                    <a:ext uri="{9D8B030D-6E8A-4147-A177-3AD203B41FA5}">
                      <a16:colId xmlns:a16="http://schemas.microsoft.com/office/drawing/2014/main" val="505282111"/>
                    </a:ext>
                  </a:extLst>
                </a:gridCol>
                <a:gridCol w="2888202">
                  <a:extLst>
                    <a:ext uri="{9D8B030D-6E8A-4147-A177-3AD203B41FA5}">
                      <a16:colId xmlns:a16="http://schemas.microsoft.com/office/drawing/2014/main" val="3370877348"/>
                    </a:ext>
                  </a:extLst>
                </a:gridCol>
                <a:gridCol w="2888202">
                  <a:extLst>
                    <a:ext uri="{9D8B030D-6E8A-4147-A177-3AD203B41FA5}">
                      <a16:colId xmlns:a16="http://schemas.microsoft.com/office/drawing/2014/main" val="3343254152"/>
                    </a:ext>
                  </a:extLst>
                </a:gridCol>
              </a:tblGrid>
              <a:tr h="1389937"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undlæggende</a:t>
                      </a:r>
                      <a:r>
                        <a:rPr lang="da-DK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n om SINE</a:t>
                      </a:r>
                      <a:endParaRPr lang="da-DK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tineret</a:t>
                      </a:r>
                      <a:r>
                        <a:rPr lang="da-DK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n om SINE</a:t>
                      </a:r>
                      <a:endParaRPr lang="da-DK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nceret vide</a:t>
                      </a:r>
                      <a:r>
                        <a:rPr lang="da-DK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om SINE</a:t>
                      </a:r>
                      <a:endParaRPr lang="da-DK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1189227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2" action="ppaction://hlinksldjump" tooltip="100"/>
                        </a:rPr>
                        <a:t>1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3" action="ppaction://hlinksldjump"/>
                        </a:rPr>
                        <a:t>6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4" action="ppaction://hlinksldjump"/>
                        </a:rPr>
                        <a:t>11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035999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5" action="ppaction://hlinksldjump"/>
                        </a:rPr>
                        <a:t>2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6" action="ppaction://hlinksldjump"/>
                        </a:rPr>
                        <a:t>7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7" action="ppaction://hlinksldjump"/>
                        </a:rPr>
                        <a:t>12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6531545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8" action="ppaction://hlinksldjump"/>
                        </a:rPr>
                        <a:t>3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9" action="ppaction://hlinksldjump"/>
                        </a:rPr>
                        <a:t>8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0" action="ppaction://hlinksldjump"/>
                        </a:rPr>
                        <a:t>13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5124864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1" action="ppaction://hlinksldjump"/>
                        </a:rPr>
                        <a:t>4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2" action="ppaction://hlinksldjump"/>
                        </a:rPr>
                        <a:t>9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3" action="ppaction://hlinksldjump"/>
                        </a:rPr>
                        <a:t>14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5511824"/>
                  </a:ext>
                </a:extLst>
              </a:tr>
              <a:tr h="735255"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4" action="ppaction://hlinksldjump"/>
                        </a:rPr>
                        <a:t>5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5" action="ppaction://hlinksldjump"/>
                        </a:rPr>
                        <a:t>10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b="1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16" action="ppaction://hlinksldjump"/>
                        </a:rPr>
                        <a:t>1500</a:t>
                      </a:r>
                      <a:endParaRPr lang="da-DK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613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1C266DE4-3D25-2515-B954-C115873FD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8170" y="563083"/>
            <a:ext cx="7757303" cy="720000"/>
          </a:xfrm>
        </p:spPr>
        <p:txBody>
          <a:bodyPr/>
          <a:lstStyle/>
          <a:p>
            <a:r>
              <a:rPr lang="da-DK" dirty="0"/>
              <a:t>Grundlæggende viden (100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8755D6-2179-0194-8385-5B5FD17E85F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66904" y="2005029"/>
            <a:ext cx="10605625" cy="652543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1000"/>
              </a:spcBef>
              <a:buNone/>
            </a:pPr>
            <a:r>
              <a:rPr lang="da-DK" sz="2800" b="1" dirty="0">
                <a:solidFill>
                  <a:srgbClr val="001E3C"/>
                </a:solidFill>
                <a:latin typeface="Arial" panose="020B0604020202020204" pitchFamily="34" charset="0"/>
                <a:cs typeface="+mn-cs"/>
              </a:rPr>
              <a:t>Hvad er et default SKS, og hvor mange findes der i Danmark?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FDE4D9D-9B3B-93A3-00F1-58F1A91F1DA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598" y="3208167"/>
            <a:ext cx="10185708" cy="1558705"/>
          </a:xfrm>
        </p:spPr>
        <p:txBody>
          <a:bodyPr/>
          <a:lstStyle/>
          <a:p>
            <a:pPr marL="900000" indent="-900000">
              <a:lnSpc>
                <a:spcPct val="114000"/>
              </a:lnSpc>
              <a:spcBef>
                <a:spcPts val="1000"/>
              </a:spcBef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Et default SKS er opstartstalegruppen for alle hændelser, hvor to eller flere beredskabsmyndigheder samarbejder. Der findes 12 default SKS på landsplan.</a:t>
            </a:r>
            <a:endParaRPr lang="en-US" dirty="0"/>
          </a:p>
        </p:txBody>
      </p:sp>
      <p:sp>
        <p:nvSpPr>
          <p:cNvPr id="17" name="Tekstfelt 16">
            <a:hlinkClick r:id="rId2" action="ppaction://hlinksldjump"/>
            <a:extLst>
              <a:ext uri="{FF2B5EF4-FFF2-40B4-BE49-F238E27FC236}">
                <a16:creationId xmlns:a16="http://schemas.microsoft.com/office/drawing/2014/main" id="{D7F8DD3A-D7AB-83E2-DCE1-970C6DFD5A51}"/>
              </a:ext>
            </a:extLst>
          </p:cNvPr>
          <p:cNvSpPr txBox="1"/>
          <p:nvPr/>
        </p:nvSpPr>
        <p:spPr>
          <a:xfrm>
            <a:off x="10066286" y="5685908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0D76722A-77A3-CD07-FD85-779371E46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795" y="542950"/>
            <a:ext cx="9430267" cy="720000"/>
          </a:xfrm>
        </p:spPr>
        <p:txBody>
          <a:bodyPr/>
          <a:lstStyle/>
          <a:p>
            <a:r>
              <a:rPr lang="da-DK" dirty="0"/>
              <a:t>Grundlæggende viden (200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F34082-BB6D-7785-C930-3FF78F790D5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0567" y="2033700"/>
            <a:ext cx="8193353" cy="3303535"/>
          </a:xfrm>
        </p:spPr>
        <p:txBody>
          <a:bodyPr/>
          <a:lstStyle/>
          <a:p>
            <a:pPr marL="0" indent="0">
              <a:spcAft>
                <a:spcPts val="3400"/>
              </a:spcAft>
              <a:buNone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Når du taler i radio, skal du huske de fire T’er. Redegør for dem:</a:t>
            </a:r>
            <a:endParaRPr lang="da-DK" sz="2800" b="1" dirty="0">
              <a:latin typeface="Arial" panose="020B0604020202020204" pitchFamily="34" charset="0"/>
            </a:endParaRPr>
          </a:p>
          <a:p>
            <a:pPr marL="457200" indent="-457200">
              <a:buFont typeface="+mj-lt"/>
              <a:buAutoNum type="alphaUcPeriod"/>
            </a:pPr>
            <a:r>
              <a:rPr kumimoji="0" lang="da-DK" sz="2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Tæ</a:t>
            </a: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..</a:t>
            </a:r>
          </a:p>
          <a:p>
            <a:pPr marL="457200" indent="-457200">
              <a:buFont typeface="+mj-lt"/>
              <a:buAutoNum type="alphaUcPeriod"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Ta..</a:t>
            </a:r>
          </a:p>
          <a:p>
            <a:pPr marL="457200" indent="-457200">
              <a:buFont typeface="+mj-lt"/>
              <a:buAutoNum type="alphaUcPeriod"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Tø..</a:t>
            </a:r>
          </a:p>
          <a:p>
            <a:pPr marL="457200" indent="-457200">
              <a:spcAft>
                <a:spcPts val="1500"/>
              </a:spcAft>
              <a:buFont typeface="+mj-lt"/>
              <a:buAutoNum type="alphaUcPeriod"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Ta..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2E64C24-5D15-088A-265F-2405ED718C7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56610" y="5435746"/>
            <a:ext cx="4307653" cy="10792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var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Tænk, tast, tøv, tal.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Tekstfelt 7">
            <a:hlinkClick r:id="rId2" action="ppaction://hlinksldjump"/>
            <a:extLst>
              <a:ext uri="{FF2B5EF4-FFF2-40B4-BE49-F238E27FC236}">
                <a16:creationId xmlns:a16="http://schemas.microsoft.com/office/drawing/2014/main" id="{B3BBCAD8-B8B8-042F-D4E7-AFD33B23ECA6}"/>
              </a:ext>
            </a:extLst>
          </p:cNvPr>
          <p:cNvSpPr txBox="1"/>
          <p:nvPr/>
        </p:nvSpPr>
        <p:spPr>
          <a:xfrm>
            <a:off x="10035720" y="5618857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41377D18-A462-7B8A-09A8-8FB736510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2633" y="553177"/>
            <a:ext cx="9363430" cy="720000"/>
          </a:xfrm>
        </p:spPr>
        <p:txBody>
          <a:bodyPr/>
          <a:lstStyle/>
          <a:p>
            <a:r>
              <a:rPr lang="da-DK" dirty="0"/>
              <a:t>Grundlæggende viden (300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5FE970B-4F46-51D3-8056-12FCBEF64A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55583" y="2045049"/>
            <a:ext cx="6912767" cy="720001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ad gør du, hvis du mister din radio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D3023F-E2A5-93F9-4858-C7A0958616A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600" y="2979300"/>
            <a:ext cx="10704463" cy="1383002"/>
          </a:xfrm>
        </p:spPr>
        <p:txBody>
          <a:bodyPr/>
          <a:lstStyle/>
          <a:p>
            <a:pPr marL="900000" indent="-90000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Kontakt din SINE-superbruger eller meld det til nærmeste    	leder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8" name="Tekstfelt 7">
            <a:hlinkClick r:id="rId2" action="ppaction://hlinksldjump"/>
            <a:extLst>
              <a:ext uri="{FF2B5EF4-FFF2-40B4-BE49-F238E27FC236}">
                <a16:creationId xmlns:a16="http://schemas.microsoft.com/office/drawing/2014/main" id="{28BEB0E8-550D-6CA9-2D54-6547DF323D4E}"/>
              </a:ext>
            </a:extLst>
          </p:cNvPr>
          <p:cNvSpPr txBox="1"/>
          <p:nvPr/>
        </p:nvSpPr>
        <p:spPr>
          <a:xfrm>
            <a:off x="10160007" y="553030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7DA3A515-1179-E06F-7DA1-54F4A1716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9265" y="391800"/>
            <a:ext cx="9336798" cy="720000"/>
          </a:xfrm>
        </p:spPr>
        <p:txBody>
          <a:bodyPr/>
          <a:lstStyle/>
          <a:p>
            <a:r>
              <a:rPr lang="da-DK" dirty="0"/>
              <a:t>Grundlæggende viden (4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573992-BDFB-920A-362A-7354931730A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66849" y="2038457"/>
            <a:ext cx="7728517" cy="720001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em modtager dit nødkald på radioen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925330-92DB-A6B5-8CD8-854FA51746E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600" y="3467100"/>
            <a:ext cx="10248802" cy="2432308"/>
          </a:xfrm>
        </p:spPr>
        <p:txBody>
          <a:bodyPr/>
          <a:lstStyle/>
          <a:p>
            <a:pPr marL="900000" indent="-900000">
              <a:spcBef>
                <a:spcPts val="1000"/>
              </a:spcBef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Det er programmeringen af din radio, der afgør, hvor dit 	nødkald går hen.</a:t>
            </a:r>
          </a:p>
          <a:p>
            <a:pPr marL="900000" indent="0">
              <a:spcBef>
                <a:spcPts val="1000"/>
              </a:spcBef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Hvis du er i tvivl, kan du få vejledning hos din leder eller SINE-superbruger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A32FF-35B3-28E1-B9DC-0409BB146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AAEF8F7-F173-C442-E456-59F4F0705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4104" y="604136"/>
            <a:ext cx="9336798" cy="720000"/>
          </a:xfrm>
        </p:spPr>
        <p:txBody>
          <a:bodyPr/>
          <a:lstStyle/>
          <a:p>
            <a:r>
              <a:rPr lang="da-DK" dirty="0"/>
              <a:t>Grundlæggende viden (5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ED91DD-7555-30A8-EC73-164068B81AC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66849" y="2038457"/>
            <a:ext cx="7728517" cy="933343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ordan angives nummerpladen AK 58239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jf. det fonetiske alfabet (ICAO)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841AEF-3073-C5DA-88E4-0FCC8AD2D80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1600" y="4076700"/>
            <a:ext cx="10248802" cy="1822707"/>
          </a:xfrm>
        </p:spPr>
        <p:txBody>
          <a:bodyPr/>
          <a:lstStyle/>
          <a:p>
            <a:pPr marL="0" indent="0">
              <a:spcBef>
                <a:spcPts val="1000"/>
              </a:spcBef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</a:t>
            </a:r>
          </a:p>
          <a:p>
            <a:pPr marL="0" indent="0">
              <a:spcBef>
                <a:spcPts val="1000"/>
              </a:spcBef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Alfa – Kilo – Fem – Åtte – To – Tre - </a:t>
            </a:r>
            <a:r>
              <a:rPr lang="da-DK" sz="2800" i="1" dirty="0" err="1">
                <a:solidFill>
                  <a:schemeClr val="tx1"/>
                </a:solidFill>
                <a:latin typeface="Arial" panose="020B0604020202020204" pitchFamily="34" charset="0"/>
              </a:rPr>
              <a:t>Najne</a:t>
            </a: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A5F174B7-7703-C682-9853-375C9C0A5979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603687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51A6E5C-0DAB-9CFF-CFA9-EC07296FC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2775" y="639450"/>
            <a:ext cx="8793287" cy="720000"/>
          </a:xfrm>
        </p:spPr>
        <p:txBody>
          <a:bodyPr/>
          <a:lstStyle/>
          <a:p>
            <a:r>
              <a:rPr lang="da-DK" dirty="0"/>
              <a:t>Rutineret viden (600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26DB22-A015-A28B-9281-C2FCD01D7F9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1586" y="2046232"/>
            <a:ext cx="10704462" cy="1845000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Du er på vej ind i politikreds 2 og har brug for at tale med politiets vagtcentral. </a:t>
            </a:r>
          </a:p>
          <a:p>
            <a:pPr marL="0" indent="0">
              <a:buNone/>
            </a:pPr>
            <a:r>
              <a:rPr lang="da-DK" sz="2800" b="1" dirty="0">
                <a:latin typeface="Arial" panose="020B0604020202020204" pitchFamily="34" charset="0"/>
              </a:rPr>
              <a:t>Hvilken talegruppe kalder du kredsen op på?</a:t>
            </a:r>
            <a:endParaRPr lang="en-US" sz="2800" dirty="0"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8E05C40-ABC9-B8D1-4FEA-01AE6F5EE14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75545" y="4308238"/>
            <a:ext cx="8054156" cy="992078"/>
          </a:xfrm>
        </p:spPr>
        <p:txBody>
          <a:bodyPr/>
          <a:lstStyle/>
          <a:p>
            <a:pPr marL="0" indent="0">
              <a:buNone/>
            </a:pP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Svar: </a:t>
            </a:r>
            <a:b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a-DK" sz="2800" i="1" dirty="0">
                <a:solidFill>
                  <a:schemeClr val="tx1"/>
                </a:solidFill>
                <a:latin typeface="Arial" panose="020B0604020202020204" pitchFamily="34" charset="0"/>
              </a:rPr>
              <a:t>Du kalder politikredsen op på default SKS 20.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kstfelt 4">
            <a:hlinkClick r:id="rId2" action="ppaction://hlinksldjump"/>
            <a:extLst>
              <a:ext uri="{FF2B5EF4-FFF2-40B4-BE49-F238E27FC236}">
                <a16:creationId xmlns:a16="http://schemas.microsoft.com/office/drawing/2014/main" id="{F2B77B1A-F197-0D70-504D-290669FE3770}"/>
              </a:ext>
            </a:extLst>
          </p:cNvPr>
          <p:cNvSpPr txBox="1"/>
          <p:nvPr/>
        </p:nvSpPr>
        <p:spPr>
          <a:xfrm>
            <a:off x="10151130" y="5641519"/>
            <a:ext cx="1368152" cy="461665"/>
          </a:xfrm>
          <a:prstGeom prst="rect">
            <a:avLst/>
          </a:prstGeom>
          <a:solidFill>
            <a:srgbClr val="D4E600">
              <a:lumMod val="60000"/>
              <a:lumOff val="40000"/>
            </a:srgbClr>
          </a:solidFill>
          <a:ln>
            <a:solidFill>
              <a:srgbClr val="D4E600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lbage</a:t>
            </a:r>
          </a:p>
        </p:txBody>
      </p:sp>
    </p:spTree>
    <p:extLst>
      <p:ext uri="{BB962C8B-B14F-4D97-AF65-F5344CB8AC3E}">
        <p14:creationId xmlns:p14="http://schemas.microsoft.com/office/powerpoint/2010/main" val="3528432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>
      <Value>49</Value>
      <Value>1144</Value>
      <Value>1039</Value>
      <Value>5</Value>
      <Value>20</Value>
      <Value>19</Value>
    </TaxCatchAll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940888-F264-4FB1-ADE3-E091525F4FC3}">
  <ds:schemaRefs>
    <ds:schemaRef ds:uri="http://purl.org/dc/elements/1.1/"/>
    <ds:schemaRef ds:uri="7aade10d-a3e9-471e-92b7-f7367a55363c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1616dde6-71bf-4cfb-9871-007fe6400b8b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BB73A1C-4E9B-49CF-8EC1-E608CF58A4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213</TotalTime>
  <Words>900</Words>
  <Application>Microsoft Office PowerPoint</Application>
  <PresentationFormat>Widescreen</PresentationFormat>
  <Paragraphs>106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Verdana</vt:lpstr>
      <vt:lpstr>Office-tema</vt:lpstr>
      <vt:lpstr>think-cell Slide</vt:lpstr>
      <vt:lpstr>SINE - quiz</vt:lpstr>
      <vt:lpstr>Spilleregler</vt:lpstr>
      <vt:lpstr>Point-skema</vt:lpstr>
      <vt:lpstr>Grundlæggende viden (100)</vt:lpstr>
      <vt:lpstr>Grundlæggende viden (200)</vt:lpstr>
      <vt:lpstr>Grundlæggende viden (300)</vt:lpstr>
      <vt:lpstr>Grundlæggende viden (400)</vt:lpstr>
      <vt:lpstr>Grundlæggende viden (500)</vt:lpstr>
      <vt:lpstr>Rutineret viden (600)</vt:lpstr>
      <vt:lpstr>Rutineret viden (700)</vt:lpstr>
      <vt:lpstr>Rutineret viden (800)</vt:lpstr>
      <vt:lpstr>Rutineret viden (900)</vt:lpstr>
      <vt:lpstr>Rutineret viden (1000)</vt:lpstr>
      <vt:lpstr>Avanceret viden (1100)</vt:lpstr>
      <vt:lpstr>Avanceret viden (1200)</vt:lpstr>
      <vt:lpstr>Avanceret viden (1300)</vt:lpstr>
      <vt:lpstr>Avanceret viden (1400)</vt:lpstr>
      <vt:lpstr>Avanceret viden (1500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E - quiz</dc:title>
  <dc:creator>Krog-Meyer, Flemming (FKR007)</dc:creator>
  <cp:revision>38</cp:revision>
  <dcterms:created xsi:type="dcterms:W3CDTF">2025-12-12T10:27:04Z</dcterms:created>
  <dcterms:modified xsi:type="dcterms:W3CDTF">2026-03-07T10:4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</Properties>
</file>